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65" d="100"/>
          <a:sy n="65" d="100"/>
        </p:scale>
        <p:origin x="332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22-10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w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2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5.emf"/><Relationship Id="rId5" Type="http://schemas.openxmlformats.org/officeDocument/2006/relationships/image" Target="../media/image13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8.emf"/><Relationship Id="rId5" Type="http://schemas.openxmlformats.org/officeDocument/2006/relationships/image" Target="../media/image16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9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1.emf"/><Relationship Id="rId10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2420531"/>
              </p:ext>
            </p:extLst>
          </p:nvPr>
        </p:nvGraphicFramePr>
        <p:xfrm>
          <a:off x="5962650" y="214313"/>
          <a:ext cx="598488" cy="796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7400" imgH="815400" progId="Excel.Sheet.12">
                  <p:link updateAutomatic="1"/>
                </p:oleObj>
              </mc:Choice>
              <mc:Fallback>
                <p:oleObj name="Worksheet" r:id="rId4" imgW="617400" imgH="81540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2650" y="214313"/>
                        <a:ext cx="598488" cy="796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1637020"/>
              </p:ext>
            </p:extLst>
          </p:nvPr>
        </p:nvGraphicFramePr>
        <p:xfrm>
          <a:off x="296863" y="1609725"/>
          <a:ext cx="6264275" cy="452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553142" imgH="4518773" progId="Excel.Sheet.12">
                  <p:link updateAutomatic="1"/>
                </p:oleObj>
              </mc:Choice>
              <mc:Fallback>
                <p:oleObj name="Worksheet" r:id="rId6" imgW="6553142" imgH="451877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6863" y="1609725"/>
                        <a:ext cx="6264275" cy="452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6962535"/>
              </p:ext>
            </p:extLst>
          </p:nvPr>
        </p:nvGraphicFramePr>
        <p:xfrm>
          <a:off x="3292475" y="1792288"/>
          <a:ext cx="2214563" cy="380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3985239" progId="Excel.Sheet.12">
                  <p:link updateAutomatic="1"/>
                </p:oleObj>
              </mc:Choice>
              <mc:Fallback>
                <p:oleObj name="Worksheet" r:id="rId4" imgW="2819475" imgH="39852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92475" y="1792288"/>
                        <a:ext cx="2214563" cy="380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5601443"/>
              </p:ext>
            </p:extLst>
          </p:nvPr>
        </p:nvGraphicFramePr>
        <p:xfrm>
          <a:off x="184150" y="5838825"/>
          <a:ext cx="6491288" cy="2700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484571" imgH="2819472" progId="Excel.Sheet.12">
                  <p:link updateAutomatic="1"/>
                </p:oleObj>
              </mc:Choice>
              <mc:Fallback>
                <p:oleObj name="Worksheet" r:id="rId6" imgW="6484571" imgH="281947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4150" y="5838825"/>
                        <a:ext cx="6491288" cy="2700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3941788"/>
              </p:ext>
            </p:extLst>
          </p:nvPr>
        </p:nvGraphicFramePr>
        <p:xfrm>
          <a:off x="5972175" y="241300"/>
          <a:ext cx="552450" cy="73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2175" y="241300"/>
                        <a:ext cx="552450" cy="739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8957649"/>
              </p:ext>
            </p:extLst>
          </p:nvPr>
        </p:nvGraphicFramePr>
        <p:xfrm>
          <a:off x="1147763" y="1797050"/>
          <a:ext cx="2220912" cy="3538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3710827" progId="Excel.Sheet.12">
                  <p:link updateAutomatic="1"/>
                </p:oleObj>
              </mc:Choice>
              <mc:Fallback>
                <p:oleObj name="Worksheet" r:id="rId10" imgW="2819475" imgH="37108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47763" y="1797050"/>
                        <a:ext cx="2220912" cy="3538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45429352"/>
              </p:ext>
            </p:extLst>
          </p:nvPr>
        </p:nvGraphicFramePr>
        <p:xfrm>
          <a:off x="2997200" y="1712913"/>
          <a:ext cx="2722563" cy="443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4427302" progId="Excel.Sheet.12">
                  <p:link updateAutomatic="1"/>
                </p:oleObj>
              </mc:Choice>
              <mc:Fallback>
                <p:oleObj name="Worksheet" r:id="rId4" imgW="2819475" imgH="442730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97200" y="1712913"/>
                        <a:ext cx="2722563" cy="4430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5299351"/>
              </p:ext>
            </p:extLst>
          </p:nvPr>
        </p:nvGraphicFramePr>
        <p:xfrm>
          <a:off x="793750" y="6294438"/>
          <a:ext cx="5032375" cy="261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5387152" imgH="2796396" progId="Excel.Sheet.12">
                  <p:link updateAutomatic="1"/>
                </p:oleObj>
              </mc:Choice>
              <mc:Fallback>
                <p:oleObj name="Worksheet" r:id="rId6" imgW="5387152" imgH="279639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3750" y="6294438"/>
                        <a:ext cx="5032375" cy="261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8323974"/>
              </p:ext>
            </p:extLst>
          </p:nvPr>
        </p:nvGraphicFramePr>
        <p:xfrm>
          <a:off x="5945188" y="252413"/>
          <a:ext cx="552450" cy="741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5188" y="252413"/>
                        <a:ext cx="552450" cy="7413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5364041"/>
              </p:ext>
            </p:extLst>
          </p:nvPr>
        </p:nvGraphicFramePr>
        <p:xfrm>
          <a:off x="788988" y="1712913"/>
          <a:ext cx="2722562" cy="4125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4122307" progId="Excel.Sheet.12">
                  <p:link updateAutomatic="1"/>
                </p:oleObj>
              </mc:Choice>
              <mc:Fallback>
                <p:oleObj name="Worksheet" r:id="rId10" imgW="2819475" imgH="412230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88988" y="1712913"/>
                        <a:ext cx="2722562" cy="41259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1249040"/>
              </p:ext>
            </p:extLst>
          </p:nvPr>
        </p:nvGraphicFramePr>
        <p:xfrm>
          <a:off x="3319463" y="2032000"/>
          <a:ext cx="2693987" cy="3938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819475" imgH="4122307" progId="Excel.Sheet.12">
                  <p:link updateAutomatic="1"/>
                </p:oleObj>
              </mc:Choice>
              <mc:Fallback>
                <p:oleObj name="Worksheet" r:id="rId4" imgW="2819475" imgH="412230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9463" y="2032000"/>
                        <a:ext cx="2693987" cy="3938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6672435"/>
              </p:ext>
            </p:extLst>
          </p:nvPr>
        </p:nvGraphicFramePr>
        <p:xfrm>
          <a:off x="823913" y="6354763"/>
          <a:ext cx="5211762" cy="2205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122330" imgH="1729606" progId="Excel.Sheet.12">
                  <p:link updateAutomatic="1"/>
                </p:oleObj>
              </mc:Choice>
              <mc:Fallback>
                <p:oleObj name="Worksheet" r:id="rId6" imgW="4122330" imgH="17296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23913" y="6354763"/>
                        <a:ext cx="5211762" cy="22050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4439496"/>
              </p:ext>
            </p:extLst>
          </p:nvPr>
        </p:nvGraphicFramePr>
        <p:xfrm>
          <a:off x="5953125" y="236538"/>
          <a:ext cx="576263" cy="782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3125" y="236538"/>
                        <a:ext cx="576263" cy="782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2214166"/>
              </p:ext>
            </p:extLst>
          </p:nvPr>
        </p:nvGraphicFramePr>
        <p:xfrm>
          <a:off x="669925" y="2028825"/>
          <a:ext cx="2692400" cy="3546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819475" imgH="3710827" progId="Excel.Sheet.12">
                  <p:link updateAutomatic="1"/>
                </p:oleObj>
              </mc:Choice>
              <mc:Fallback>
                <p:oleObj name="Worksheet" r:id="rId10" imgW="2819475" imgH="37108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69925" y="2028825"/>
                        <a:ext cx="2692400" cy="3546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2455020"/>
              </p:ext>
            </p:extLst>
          </p:nvPr>
        </p:nvGraphicFramePr>
        <p:xfrm>
          <a:off x="3160713" y="1389063"/>
          <a:ext cx="3084512" cy="5072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230903" imgH="4968343" progId="Excel.Sheet.12">
                  <p:link updateAutomatic="1"/>
                </p:oleObj>
              </mc:Choice>
              <mc:Fallback>
                <p:oleObj name="Worksheet" r:id="rId4" imgW="3230903" imgH="496834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60713" y="1389063"/>
                        <a:ext cx="3084512" cy="5072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0179093"/>
              </p:ext>
            </p:extLst>
          </p:nvPr>
        </p:nvGraphicFramePr>
        <p:xfrm>
          <a:off x="1035050" y="6597650"/>
          <a:ext cx="4573588" cy="2306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758856" imgH="3192862" progId="Excel.Sheet.12">
                  <p:link updateAutomatic="1"/>
                </p:oleObj>
              </mc:Choice>
              <mc:Fallback>
                <p:oleObj name="Worksheet" r:id="rId6" imgW="6758856" imgH="319286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5050" y="6597650"/>
                        <a:ext cx="4573588" cy="2306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5007425"/>
              </p:ext>
            </p:extLst>
          </p:nvPr>
        </p:nvGraphicFramePr>
        <p:xfrm>
          <a:off x="5948363" y="227013"/>
          <a:ext cx="585787" cy="782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7142" imgH="815453" progId="Excel.Sheet.12">
                  <p:link updateAutomatic="1"/>
                </p:oleObj>
              </mc:Choice>
              <mc:Fallback>
                <p:oleObj name="Worksheet" r:id="rId8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8363" y="227013"/>
                        <a:ext cx="585787" cy="782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2595549"/>
              </p:ext>
            </p:extLst>
          </p:nvPr>
        </p:nvGraphicFramePr>
        <p:xfrm>
          <a:off x="284163" y="1392238"/>
          <a:ext cx="3079750" cy="4418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230903" imgH="4328047" progId="Excel.Sheet.12">
                  <p:link updateAutomatic="1"/>
                </p:oleObj>
              </mc:Choice>
              <mc:Fallback>
                <p:oleObj name="Worksheet" r:id="rId10" imgW="3230903" imgH="432804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84163" y="1392238"/>
                        <a:ext cx="3079750" cy="4418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4658699"/>
              </p:ext>
            </p:extLst>
          </p:nvPr>
        </p:nvGraphicFramePr>
        <p:xfrm>
          <a:off x="700088" y="2667000"/>
          <a:ext cx="5962650" cy="299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686904" imgH="4023329" progId="Excel.Sheet.12">
                  <p:link updateAutomatic="1"/>
                </p:oleObj>
              </mc:Choice>
              <mc:Fallback>
                <p:oleObj name="Worksheet" r:id="rId4" imgW="8686904" imgH="402332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00088" y="2667000"/>
                        <a:ext cx="5962650" cy="29956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2674307"/>
              </p:ext>
            </p:extLst>
          </p:nvPr>
        </p:nvGraphicFramePr>
        <p:xfrm>
          <a:off x="5948363" y="239713"/>
          <a:ext cx="566737" cy="757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7142" imgH="815453" progId="Excel.Sheet.12">
                  <p:link updateAutomatic="1"/>
                </p:oleObj>
              </mc:Choice>
              <mc:Fallback>
                <p:oleObj name="Worksheet" r:id="rId6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8363" y="239713"/>
                        <a:ext cx="566737" cy="757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6388188"/>
              </p:ext>
            </p:extLst>
          </p:nvPr>
        </p:nvGraphicFramePr>
        <p:xfrm>
          <a:off x="5972175" y="233363"/>
          <a:ext cx="563563" cy="75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7142" imgH="815453" progId="Excel.Sheet.12">
                  <p:link updateAutomatic="1"/>
                </p:oleObj>
              </mc:Choice>
              <mc:Fallback>
                <p:oleObj name="Worksheet" r:id="rId4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2175" y="233363"/>
                        <a:ext cx="563563" cy="755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7879604"/>
              </p:ext>
            </p:extLst>
          </p:nvPr>
        </p:nvGraphicFramePr>
        <p:xfrm>
          <a:off x="846138" y="2571750"/>
          <a:ext cx="5164137" cy="3817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427153" imgH="3025212" progId="Excel.Sheet.12">
                  <p:link updateAutomatic="1"/>
                </p:oleObj>
              </mc:Choice>
              <mc:Fallback>
                <p:oleObj name="Worksheet" r:id="rId4" imgW="4427153" imgH="30252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46138" y="2571750"/>
                        <a:ext cx="5164137" cy="3817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87540170"/>
              </p:ext>
            </p:extLst>
          </p:nvPr>
        </p:nvGraphicFramePr>
        <p:xfrm>
          <a:off x="5967413" y="239713"/>
          <a:ext cx="576262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7142" imgH="815453" progId="Excel.Sheet.12">
                  <p:link updateAutomatic="1"/>
                </p:oleObj>
              </mc:Choice>
              <mc:Fallback>
                <p:oleObj name="Worksheet" r:id="rId6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7413" y="239713"/>
                        <a:ext cx="576262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68416"/>
              </p:ext>
            </p:extLst>
          </p:nvPr>
        </p:nvGraphicFramePr>
        <p:xfrm>
          <a:off x="1068388" y="1744663"/>
          <a:ext cx="4724400" cy="5532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97784" imgH="4671132" progId="Excel.Sheet.12">
                  <p:link updateAutomatic="1"/>
                </p:oleObj>
              </mc:Choice>
              <mc:Fallback>
                <p:oleObj name="Worksheet" r:id="rId7" imgW="4297784" imgH="467113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68388" y="1744663"/>
                        <a:ext cx="4724400" cy="5532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7212713"/>
              </p:ext>
            </p:extLst>
          </p:nvPr>
        </p:nvGraphicFramePr>
        <p:xfrm>
          <a:off x="5957888" y="239713"/>
          <a:ext cx="581025" cy="77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7142" imgH="815453" progId="Excel.Sheet.12">
                  <p:link updateAutomatic="1"/>
                </p:oleObj>
              </mc:Choice>
              <mc:Fallback>
                <p:oleObj name="Worksheet" r:id="rId9" imgW="617142" imgH="81545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7888" y="239713"/>
                        <a:ext cx="581025" cy="77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57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8</cp:revision>
  <cp:lastPrinted>2018-03-07T08:57:35Z</cp:lastPrinted>
  <dcterms:created xsi:type="dcterms:W3CDTF">2018-02-28T14:59:25Z</dcterms:created>
  <dcterms:modified xsi:type="dcterms:W3CDTF">2025-10-22T09:59:13Z</dcterms:modified>
</cp:coreProperties>
</file>